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4"/>
  </p:notesMasterIdLst>
  <p:sldIdLst>
    <p:sldId id="294" r:id="rId3"/>
    <p:sldId id="311" r:id="rId4"/>
    <p:sldId id="312" r:id="rId5"/>
    <p:sldId id="266" r:id="rId6"/>
    <p:sldId id="267" r:id="rId7"/>
    <p:sldId id="345" r:id="rId8"/>
    <p:sldId id="346" r:id="rId9"/>
    <p:sldId id="284" r:id="rId10"/>
    <p:sldId id="288" r:id="rId11"/>
    <p:sldId id="295" r:id="rId12"/>
    <p:sldId id="301" r:id="rId13"/>
    <p:sldId id="296" r:id="rId14"/>
    <p:sldId id="297" r:id="rId15"/>
    <p:sldId id="299" r:id="rId16"/>
    <p:sldId id="300" r:id="rId17"/>
    <p:sldId id="302" r:id="rId18"/>
    <p:sldId id="303" r:id="rId19"/>
    <p:sldId id="304" r:id="rId20"/>
    <p:sldId id="305" r:id="rId21"/>
    <p:sldId id="306" r:id="rId22"/>
    <p:sldId id="307" r:id="rId23"/>
    <p:sldId id="309" r:id="rId24"/>
    <p:sldId id="308" r:id="rId25"/>
    <p:sldId id="310" r:id="rId26"/>
    <p:sldId id="315" r:id="rId27"/>
    <p:sldId id="313" r:id="rId28"/>
    <p:sldId id="319" r:id="rId29"/>
    <p:sldId id="317" r:id="rId30"/>
    <p:sldId id="318" r:id="rId31"/>
    <p:sldId id="320" r:id="rId32"/>
    <p:sldId id="321" r:id="rId33"/>
    <p:sldId id="323" r:id="rId34"/>
    <p:sldId id="324" r:id="rId35"/>
    <p:sldId id="325" r:id="rId36"/>
    <p:sldId id="326" r:id="rId37"/>
    <p:sldId id="329" r:id="rId38"/>
    <p:sldId id="330" r:id="rId39"/>
    <p:sldId id="333" r:id="rId40"/>
    <p:sldId id="334" r:id="rId41"/>
    <p:sldId id="335" r:id="rId42"/>
    <p:sldId id="336" r:id="rId43"/>
    <p:sldId id="2076136786" r:id="rId44"/>
    <p:sldId id="2076136787" r:id="rId45"/>
    <p:sldId id="2076136788" r:id="rId46"/>
    <p:sldId id="337" r:id="rId47"/>
    <p:sldId id="338" r:id="rId48"/>
    <p:sldId id="339" r:id="rId49"/>
    <p:sldId id="286" r:id="rId50"/>
    <p:sldId id="282" r:id="rId51"/>
    <p:sldId id="272" r:id="rId52"/>
    <p:sldId id="278" r:id="rId53"/>
    <p:sldId id="292" r:id="rId54"/>
    <p:sldId id="275" r:id="rId55"/>
    <p:sldId id="341" r:id="rId56"/>
    <p:sldId id="344" r:id="rId57"/>
    <p:sldId id="2076136789" r:id="rId58"/>
    <p:sldId id="2076136790" r:id="rId59"/>
    <p:sldId id="343" r:id="rId60"/>
    <p:sldId id="340" r:id="rId61"/>
    <p:sldId id="342" r:id="rId62"/>
    <p:sldId id="280" r:id="rId63"/>
    <p:sldId id="2076136784" r:id="rId64"/>
    <p:sldId id="4390" r:id="rId65"/>
    <p:sldId id="2076136781" r:id="rId66"/>
    <p:sldId id="2076136780" r:id="rId67"/>
    <p:sldId id="259" r:id="rId68"/>
    <p:sldId id="256" r:id="rId69"/>
    <p:sldId id="261" r:id="rId70"/>
    <p:sldId id="263" r:id="rId71"/>
    <p:sldId id="265" r:id="rId72"/>
    <p:sldId id="2076136785" r:id="rId7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312"/>
            <p14:sldId id="266"/>
            <p14:sldId id="267"/>
            <p14:sldId id="345"/>
            <p14:sldId id="346"/>
            <p14:sldId id="284"/>
            <p14:sldId id="288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329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076136789"/>
            <p14:sldId id="2076136790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  <p14:sldId id="256"/>
            <p14:sldId id="261"/>
            <p14:sldId id="263"/>
            <p14:sldId id="265"/>
            <p14:sldId id="20761367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160" d="100"/>
          <a:sy n="160" d="100"/>
        </p:scale>
        <p:origin x="33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cli/azure/install-azure-cli?view=azure-cli-lates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2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2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7.jpeg"/><Relationship Id="rId5" Type="http://schemas.openxmlformats.org/officeDocument/2006/relationships/image" Target="../media/image14.png"/><Relationship Id="rId10" Type="http://schemas.openxmlformats.org/officeDocument/2006/relationships/image" Target="../media/image16.png"/><Relationship Id="rId4" Type="http://schemas.openxmlformats.org/officeDocument/2006/relationships/image" Target="../media/image13.jpeg"/><Relationship Id="rId9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0" Type="http://schemas.openxmlformats.org/officeDocument/2006/relationships/image" Target="../media/image106.png"/><Relationship Id="rId4" Type="http://schemas.openxmlformats.org/officeDocument/2006/relationships/image" Target="../media/image100.tiff"/><Relationship Id="rId9" Type="http://schemas.openxmlformats.org/officeDocument/2006/relationships/image" Target="../media/image105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5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/>
              <a:t>IoT4Solution</a:t>
            </a:r>
            <a:r>
              <a:rPr lang="en-US" sz="4400" dirty="0"/>
              <a:t>/</a:t>
            </a:r>
            <a:r>
              <a:rPr lang="en-US" sz="4400"/>
              <a:t>Smart Start2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03.02.2021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pic>
        <p:nvPicPr>
          <p:cNvPr id="1026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D7CD0DD5-F0E9-4ABB-8236-FE65387B84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6096800" y="841895"/>
            <a:ext cx="5368606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3051352-095A-4410-8A49-30F9AD33B44C}"/>
              </a:ext>
            </a:extLst>
          </p:cNvPr>
          <p:cNvGrpSpPr/>
          <p:nvPr/>
        </p:nvGrpSpPr>
        <p:grpSpPr>
          <a:xfrm>
            <a:off x="949806" y="1690689"/>
            <a:ext cx="3954330" cy="3250352"/>
            <a:chOff x="949806" y="1690688"/>
            <a:chExt cx="4063360" cy="330365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67DFD7F-70A2-43D2-95D1-7795D9B3C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9806" y="1690688"/>
              <a:ext cx="4062442" cy="59055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81DE358-D927-4847-82DF-A110E3B67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9807" y="2281242"/>
              <a:ext cx="4062442" cy="40005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56325E2-D07D-4FD3-8788-5BFCEBAEC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80267" y="2810198"/>
              <a:ext cx="4032899" cy="2184147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53C30-361B-4AA3-ACB1-95450470075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884"/>
          <a:stretch/>
        </p:blipFill>
        <p:spPr>
          <a:xfrm>
            <a:off x="4200273" y="4465696"/>
            <a:ext cx="3192836" cy="1152561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0B61003C-D3C9-48B3-8B04-18DDA81A9FD2}"/>
              </a:ext>
            </a:extLst>
          </p:cNvPr>
          <p:cNvSpPr/>
          <p:nvPr/>
        </p:nvSpPr>
        <p:spPr>
          <a:xfrm>
            <a:off x="698255" y="318573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1D57023-DA5B-4357-BA2E-6A2773891EA7}"/>
              </a:ext>
            </a:extLst>
          </p:cNvPr>
          <p:cNvSpPr/>
          <p:nvPr/>
        </p:nvSpPr>
        <p:spPr>
          <a:xfrm rot="3086698">
            <a:off x="9833248" y="836804"/>
            <a:ext cx="881596" cy="25770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6BC99-8F9D-4902-907A-0B964B6A321F}"/>
              </a:ext>
            </a:extLst>
          </p:cNvPr>
          <p:cNvSpPr/>
          <p:nvPr/>
        </p:nvSpPr>
        <p:spPr>
          <a:xfrm>
            <a:off x="10370149" y="2268231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FA73373-BB87-4F58-A9CB-2625092C7ADA}"/>
              </a:ext>
            </a:extLst>
          </p:cNvPr>
          <p:cNvSpPr/>
          <p:nvPr/>
        </p:nvSpPr>
        <p:spPr>
          <a:xfrm>
            <a:off x="7343314" y="977526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DE7EED-1A39-4BFD-80EF-DBAA4FF7CB3F}"/>
              </a:ext>
            </a:extLst>
          </p:cNvPr>
          <p:cNvSpPr/>
          <p:nvPr/>
        </p:nvSpPr>
        <p:spPr>
          <a:xfrm>
            <a:off x="698255" y="352434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5CBAD2-A2F8-43AE-85FC-B60D3A8C58E3}"/>
              </a:ext>
            </a:extLst>
          </p:cNvPr>
          <p:cNvSpPr/>
          <p:nvPr/>
        </p:nvSpPr>
        <p:spPr>
          <a:xfrm>
            <a:off x="9440693" y="784805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95C4457-6C63-4E65-991A-D879E9420C3A}"/>
              </a:ext>
            </a:extLst>
          </p:cNvPr>
          <p:cNvSpPr/>
          <p:nvPr/>
        </p:nvSpPr>
        <p:spPr>
          <a:xfrm>
            <a:off x="698255" y="3881019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C7CBFC7C-3B4D-4388-83E1-2CB837F92D87}"/>
              </a:ext>
            </a:extLst>
          </p:cNvPr>
          <p:cNvSpPr/>
          <p:nvPr/>
        </p:nvSpPr>
        <p:spPr>
          <a:xfrm flipV="1">
            <a:off x="2944732" y="4377550"/>
            <a:ext cx="1164527" cy="902099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BA1AC7-AC9E-45D0-8690-07301577FA19}"/>
              </a:ext>
            </a:extLst>
          </p:cNvPr>
          <p:cNvSpPr txBox="1"/>
          <p:nvPr/>
        </p:nvSpPr>
        <p:spPr>
          <a:xfrm>
            <a:off x="3166960" y="4857310"/>
            <a:ext cx="720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on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8C37F46-47DC-4DCB-8218-811680C3028C}"/>
              </a:ext>
            </a:extLst>
          </p:cNvPr>
          <p:cNvSpPr/>
          <p:nvPr/>
        </p:nvSpPr>
        <p:spPr>
          <a:xfrm>
            <a:off x="2779754" y="4847877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7A65739-B156-4C38-80AD-AAC6F0F34DBF}"/>
              </a:ext>
            </a:extLst>
          </p:cNvPr>
          <p:cNvSpPr/>
          <p:nvPr/>
        </p:nvSpPr>
        <p:spPr>
          <a:xfrm>
            <a:off x="7857272" y="3639065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03CFEA9-798D-4236-A9A5-2F5C387C1A28}"/>
              </a:ext>
            </a:extLst>
          </p:cNvPr>
          <p:cNvSpPr/>
          <p:nvPr/>
        </p:nvSpPr>
        <p:spPr>
          <a:xfrm>
            <a:off x="7857271" y="526415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5183BC-6D7C-41A2-82D8-56DB98F929FA}"/>
              </a:ext>
            </a:extLst>
          </p:cNvPr>
          <p:cNvSpPr/>
          <p:nvPr/>
        </p:nvSpPr>
        <p:spPr>
          <a:xfrm>
            <a:off x="7860466" y="5683723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E465461-7639-428C-8716-C3BE1547068B}"/>
              </a:ext>
            </a:extLst>
          </p:cNvPr>
          <p:cNvSpPr/>
          <p:nvPr/>
        </p:nvSpPr>
        <p:spPr>
          <a:xfrm>
            <a:off x="7857270" y="6103290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2A5950-7F95-430F-A8C2-E370E3AF73B0}"/>
              </a:ext>
            </a:extLst>
          </p:cNvPr>
          <p:cNvSpPr txBox="1"/>
          <p:nvPr/>
        </p:nvSpPr>
        <p:spPr>
          <a:xfrm>
            <a:off x="8278807" y="3598323"/>
            <a:ext cx="351974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Azure Service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orage Account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IoT Hu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ream Analytics Jo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QL Database</a:t>
            </a:r>
          </a:p>
          <a:p>
            <a:r>
              <a:rPr lang="en-US" sz="1600" dirty="0"/>
              <a:t>Clone Git Repo to Visual Studio 2019/22</a:t>
            </a:r>
            <a:endParaRPr lang="en-CH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E86FE2-73B9-4092-9B95-7C0B338FFB3F}"/>
              </a:ext>
            </a:extLst>
          </p:cNvPr>
          <p:cNvSpPr txBox="1"/>
          <p:nvPr/>
        </p:nvSpPr>
        <p:spPr>
          <a:xfrm>
            <a:off x="8278807" y="5246992"/>
            <a:ext cx="2654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SQL Database Schema</a:t>
            </a:r>
            <a:endParaRPr lang="en-CH" sz="16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08BDB7-9389-4439-8965-F0412520A7DF}"/>
              </a:ext>
            </a:extLst>
          </p:cNvPr>
          <p:cNvSpPr txBox="1"/>
          <p:nvPr/>
        </p:nvSpPr>
        <p:spPr>
          <a:xfrm>
            <a:off x="8278807" y="5668328"/>
            <a:ext cx="3452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dd Device &amp; Configure C# Application </a:t>
            </a:r>
            <a:endParaRPr lang="en-CH" sz="16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BC20726-28F8-4566-8C38-DC03F3875BD0}"/>
              </a:ext>
            </a:extLst>
          </p:cNvPr>
          <p:cNvSpPr txBox="1"/>
          <p:nvPr/>
        </p:nvSpPr>
        <p:spPr>
          <a:xfrm>
            <a:off x="8278807" y="6089664"/>
            <a:ext cx="34855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fine and Deploy Stream Analytics Job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4" grpId="0" animBg="1"/>
      <p:bldP spid="17" grpId="0" animBg="1"/>
      <p:bldP spid="19" grpId="0" animBg="1"/>
      <p:bldP spid="21" grpId="0" animBg="1"/>
      <p:bldP spid="23" grpId="0" animBg="1"/>
      <p:bldP spid="31" grpId="0" animBg="1"/>
      <p:bldP spid="33" grpId="0" animBg="1"/>
      <p:bldP spid="37" grpId="0" animBg="1"/>
      <p:bldP spid="40" grpId="0"/>
      <p:bldP spid="42" grpId="0"/>
      <p:bldP spid="4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E9384F-245A-4EB4-A1D6-A7E5D1723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807"/>
            <a:ext cx="10515600" cy="4351338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b="1" i="0" dirty="0">
                <a:solidFill>
                  <a:srgbClr val="24292F"/>
                </a:solidFill>
                <a:effectLst/>
                <a:latin typeface="-apple-system"/>
              </a:rPr>
              <a:t>Deploy via </a:t>
            </a:r>
            <a:r>
              <a:rPr lang="en-US" sz="2000" b="1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endParaRPr lang="en-US" sz="2000" b="1" i="0" dirty="0">
              <a:solidFill>
                <a:srgbClr val="24292F"/>
              </a:solidFill>
              <a:effectLst/>
              <a:latin typeface="-apple-system"/>
            </a:endParaRP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deploy to Azure via the 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, first ensure you have the latest Azure CLI installed from </a:t>
            </a:r>
            <a:r>
              <a:rPr lang="en-US" sz="1400" b="0" i="0" u="none" strike="noStrike" dirty="0">
                <a:solidFill>
                  <a:srgbClr val="24292F"/>
                </a:solidFill>
                <a:effectLst/>
                <a:latin typeface="-apple-system"/>
                <a:hlinkClick r:id="rId3"/>
              </a:rPr>
              <a:t>her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Make sure your subscription is set active:</a:t>
            </a: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endParaRPr lang="en-US" sz="14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 marL="0" indent="0" algn="l">
              <a:buNone/>
            </a:pPr>
            <a:r>
              <a:rPr lang="en-US" sz="2000" b="1" dirty="0">
                <a:solidFill>
                  <a:srgbClr val="24292F"/>
                </a:solidFill>
                <a:latin typeface="-apple-system"/>
              </a:rPr>
              <a:t>Navigate your Shell to the folder of the ARM template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manually enter the necessary parameters during the deployment process run the following command:</a:t>
            </a:r>
          </a:p>
          <a:p>
            <a:pPr algn="l"/>
            <a:endParaRPr lang="en-US" sz="20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E43799B-FC62-4EC3-8524-150BD1D91EA0}"/>
              </a:ext>
            </a:extLst>
          </p:cNvPr>
          <p:cNvSpPr/>
          <p:nvPr/>
        </p:nvSpPr>
        <p:spPr>
          <a:xfrm>
            <a:off x="390356" y="850760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52306C-6E96-41FD-B75D-DCD843C96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867" y="4140715"/>
            <a:ext cx="6360969" cy="215534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E08DB1-2EDA-4C56-9389-90566BA197C6}"/>
              </a:ext>
            </a:extLst>
          </p:cNvPr>
          <p:cNvSpPr txBox="1"/>
          <p:nvPr/>
        </p:nvSpPr>
        <p:spPr>
          <a:xfrm>
            <a:off x="884867" y="2663563"/>
            <a:ext cx="9698390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 set --subscription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ubscription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04D95B-773E-46AA-B9AB-C93E828C8F19}"/>
              </a:ext>
            </a:extLst>
          </p:cNvPr>
          <p:cNvSpPr txBox="1"/>
          <p:nvPr/>
        </p:nvSpPr>
        <p:spPr>
          <a:xfrm>
            <a:off x="884867" y="3711974"/>
            <a:ext cx="10956278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C1CF4A-283F-4D64-9C72-3B2B0EE7D433}"/>
              </a:ext>
            </a:extLst>
          </p:cNvPr>
          <p:cNvSpPr/>
          <p:nvPr/>
        </p:nvSpPr>
        <p:spPr>
          <a:xfrm>
            <a:off x="1267040" y="5180735"/>
            <a:ext cx="401844" cy="1082519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FD176B08-D713-4B07-8009-FBFE5EB62CCE}"/>
              </a:ext>
            </a:extLst>
          </p:cNvPr>
          <p:cNvSpPr/>
          <p:nvPr/>
        </p:nvSpPr>
        <p:spPr>
          <a:xfrm>
            <a:off x="2069539" y="4529551"/>
            <a:ext cx="2227732" cy="354868"/>
          </a:xfrm>
          <a:prstGeom prst="borderCallout2">
            <a:avLst>
              <a:gd name="adj1" fmla="val 116944"/>
              <a:gd name="adj2" fmla="val 8088"/>
              <a:gd name="adj3" fmla="val 203130"/>
              <a:gd name="adj4" fmla="val 7760"/>
              <a:gd name="adj5" fmla="val 247575"/>
              <a:gd name="adj6" fmla="val -15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dirty="0" err="1"/>
              <a:t>uniqueSolutionPrefix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445983-472C-4B80-9376-020A8CE48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5812727" cy="4351338"/>
          </a:xfrm>
        </p:spPr>
        <p:txBody>
          <a:bodyPr/>
          <a:lstStyle/>
          <a:p>
            <a:r>
              <a:rPr lang="en-US" dirty="0"/>
              <a:t>Start Publish proces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“target database connection:” and press [Publish]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E22D8F-C098-49B6-A141-75CA6A2F0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2353" y="1891610"/>
            <a:ext cx="2179805" cy="1723472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260CEE-0E24-4B59-8EC4-6166461F4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353" y="4346102"/>
            <a:ext cx="3891055" cy="2183880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1" name="Arrow: Down 10">
            <a:extLst>
              <a:ext uri="{FF2B5EF4-FFF2-40B4-BE49-F238E27FC236}">
                <a16:creationId xmlns:a16="http://schemas.microsoft.com/office/drawing/2014/main" id="{557C4825-FEA6-4B1A-8CF6-BACFF34AA309}"/>
              </a:ext>
            </a:extLst>
          </p:cNvPr>
          <p:cNvSpPr/>
          <p:nvPr/>
        </p:nvSpPr>
        <p:spPr>
          <a:xfrm>
            <a:off x="7175785" y="4649909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E68B3E1-5C6A-478A-B37B-66C1C1E951AD}"/>
              </a:ext>
            </a:extLst>
          </p:cNvPr>
          <p:cNvSpPr/>
          <p:nvPr/>
        </p:nvSpPr>
        <p:spPr>
          <a:xfrm>
            <a:off x="7237975" y="5959640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Write process supports the usage of ‘managed identities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Reading ‘Reference Data’ does not fully support managed identitie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3910257"/>
            <a:ext cx="10709983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ste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Reading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ta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es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ot suppor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naged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entity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For test of ASA Job in Visual Studio -&gt; It does not support Managed Identity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565A9D-009F-4A59-B982-7D2BB5F921F2}"/>
              </a:ext>
            </a:extLst>
          </p:cNvPr>
          <p:cNvSpPr/>
          <p:nvPr/>
        </p:nvSpPr>
        <p:spPr>
          <a:xfrm>
            <a:off x="527405" y="3524342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8" y="2463591"/>
            <a:ext cx="6521337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370DD-8DB4-4F4E-BFD5-B501FB65A5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6874"/>
            <a:ext cx="7821947" cy="4590089"/>
          </a:xfrm>
        </p:spPr>
        <p:txBody>
          <a:bodyPr/>
          <a:lstStyle/>
          <a:p>
            <a:r>
              <a:rPr lang="en-US" dirty="0"/>
              <a:t>Add device to your IoT Hub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the connection string to your IoT hub</a:t>
            </a:r>
            <a:br>
              <a:rPr lang="en-US" dirty="0"/>
            </a:br>
            <a:r>
              <a:rPr lang="en-US" dirty="0"/>
              <a:t>using ‘Manage User Secrets’</a:t>
            </a:r>
          </a:p>
          <a:p>
            <a:pPr lvl="1"/>
            <a:r>
              <a:rPr lang="en-US" dirty="0"/>
              <a:t>Template exits in the project folder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CFE9687-9F2A-4654-A065-5B53B8F5E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761" y="2117098"/>
            <a:ext cx="2862283" cy="131830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9837CD-3390-42F2-A961-DA0E5CD3E1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697" y="2117098"/>
            <a:ext cx="2058561" cy="13255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B009A9-1B46-402C-89B2-F807FEFCA5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0871" y="2117098"/>
            <a:ext cx="1706359" cy="131830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E0A3EC-A8A7-412B-B1E5-0AF4C4D3C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Add Device &amp; </a:t>
            </a:r>
            <a:r>
              <a:rPr lang="de-CH" dirty="0" err="1"/>
              <a:t>Configure</a:t>
            </a:r>
            <a:r>
              <a:rPr lang="de-CH" dirty="0"/>
              <a:t> C# </a:t>
            </a:r>
            <a:r>
              <a:rPr lang="de-CH" dirty="0" err="1"/>
              <a:t>Application</a:t>
            </a:r>
            <a:r>
              <a:rPr lang="de-CH" dirty="0"/>
              <a:t> </a:t>
            </a: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3399889-145E-4F6F-A1AD-90EF3BD39A76}"/>
              </a:ext>
            </a:extLst>
          </p:cNvPr>
          <p:cNvSpPr/>
          <p:nvPr/>
        </p:nvSpPr>
        <p:spPr>
          <a:xfrm>
            <a:off x="405851" y="88398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8BD81D-09C7-46F6-8DA4-5B5E0528B9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5782" y="4274695"/>
            <a:ext cx="2086585" cy="199899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8FA83A-CD79-4A87-87D4-DBB4A1FD4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0419" y="4951918"/>
            <a:ext cx="2122474" cy="1015662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4138BB4-F301-4523-9B27-65442CB82C13}"/>
              </a:ext>
            </a:extLst>
          </p:cNvPr>
          <p:cNvSpPr txBox="1"/>
          <p:nvPr/>
        </p:nvSpPr>
        <p:spPr>
          <a:xfrm>
            <a:off x="3703895" y="4956018"/>
            <a:ext cx="5949064" cy="10156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Hub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 e.g. xxxx.azure-devices.net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ared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hare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</a:t>
            </a:r>
          </a:p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152956B-6650-4CE0-84E2-9D3B8A4A2B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889" y="2117098"/>
            <a:ext cx="1071805" cy="133251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EEFB690-888A-4019-8E44-9C7A8D9A5644}"/>
              </a:ext>
            </a:extLst>
          </p:cNvPr>
          <p:cNvCxnSpPr/>
          <p:nvPr/>
        </p:nvCxnSpPr>
        <p:spPr>
          <a:xfrm>
            <a:off x="3162700" y="2267548"/>
            <a:ext cx="925447" cy="1001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848C8C-4B47-4A3D-A757-651198606570}"/>
              </a:ext>
            </a:extLst>
          </p:cNvPr>
          <p:cNvCxnSpPr>
            <a:cxnSpLocks/>
          </p:cNvCxnSpPr>
          <p:nvPr/>
        </p:nvCxnSpPr>
        <p:spPr>
          <a:xfrm>
            <a:off x="5888244" y="3292540"/>
            <a:ext cx="5255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CFB5E94-252A-4758-B5C3-0D2B58B57DAA}"/>
              </a:ext>
            </a:extLst>
          </p:cNvPr>
          <p:cNvCxnSpPr>
            <a:cxnSpLocks/>
          </p:cNvCxnSpPr>
          <p:nvPr/>
        </p:nvCxnSpPr>
        <p:spPr>
          <a:xfrm flipH="1">
            <a:off x="7622735" y="3292540"/>
            <a:ext cx="846249" cy="2185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464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Text]) &gt; 0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ext]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/>
              <a:t>TsSmartStartSimulateDevice</a:t>
            </a:r>
            <a:endParaRPr lang="en-US" sz="1400" b="1" u="sng" dirty="0"/>
          </a:p>
          <a:p>
            <a:r>
              <a:rPr lang="en-US" sz="1400" b="1" dirty="0"/>
              <a:t>Build</a:t>
            </a:r>
            <a:r>
              <a:rPr lang="en-US" sz="1400" dirty="0"/>
              <a:t> </a:t>
            </a:r>
            <a:r>
              <a:rPr lang="en-US" sz="1400" dirty="0" err="1"/>
              <a:t>TsSmartStartSimulateDevice</a:t>
            </a:r>
            <a:r>
              <a:rPr lang="en-US" sz="1400" dirty="0"/>
              <a:t> in Visual Studio</a:t>
            </a:r>
          </a:p>
          <a:p>
            <a:r>
              <a:rPr lang="en-US" sz="1400" dirty="0"/>
              <a:t>Open command prompt and move to your debug bin directory </a:t>
            </a:r>
            <a:br>
              <a:rPr lang="en-US" sz="1400" dirty="0"/>
            </a:b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(.....\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SmartStartSimulateDevice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\bin\Debug\netcoreapp3.1)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/>
              <a:t>Type: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TsSmartStartSimulateDevice.exe 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40727A-7011-4271-AC38-2A2F8E70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932" y="1332496"/>
            <a:ext cx="4547397" cy="16969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9172977" y="0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44F22-5CF1-4AE2-A9A8-1AC3A3FF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74AF2-5D04-4C2D-BA3B-00F21C9B9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goal of the training is to share real live experience from some IoT projects</a:t>
            </a:r>
          </a:p>
          <a:p>
            <a:pPr lvl="1"/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Understand the purpose of the used Azure Services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orage Account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IoT Hu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ream Analytics Jo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QL Database</a:t>
            </a:r>
          </a:p>
          <a:p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 enable you to setup POC environments with just a few clicks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share not only our knowledge but also a GitHub repo with blueprints that are ready to be deployed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get a POC environment that is (close to) production quality</a:t>
            </a:r>
            <a:endParaRPr lang="en-CH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  <a:p>
            <a:r>
              <a:rPr lang="en-US" sz="3200" dirty="0"/>
              <a:t>To have fun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16185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550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924825"/>
            <a:ext cx="11043137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170293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3437735" y="5514115"/>
            <a:ext cx="1285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0101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0101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2F0E071-E514-407A-BF12-6A9CC29C09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007" y="1352363"/>
            <a:ext cx="2755972" cy="1658355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2152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/>
          <a:lstStyle/>
          <a:p>
            <a:r>
              <a:rPr lang="en-US" dirty="0"/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6673D16F-126D-434F-9699-4F75C14192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8" t="29648" r="10261" b="9648"/>
          <a:stretch/>
        </p:blipFill>
        <p:spPr bwMode="auto">
          <a:xfrm>
            <a:off x="838200" y="3749625"/>
            <a:ext cx="5628387" cy="2866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8156590" y="5407466"/>
            <a:ext cx="82105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</a:t>
            </a:r>
          </a:p>
          <a:p>
            <a:pPr algn="ctr"/>
            <a:r>
              <a:rPr lang="en-US" sz="1400" dirty="0"/>
              <a:t>Machine</a:t>
            </a:r>
          </a:p>
          <a:p>
            <a:pPr algn="ctr"/>
            <a:r>
              <a:rPr lang="en-US" sz="1400" dirty="0"/>
              <a:t>Learn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Web </a:t>
            </a:r>
          </a:p>
          <a:p>
            <a:pPr algn="ctr"/>
            <a:r>
              <a:rPr lang="en-US" sz="1400" dirty="0"/>
              <a:t>Application</a:t>
            </a:r>
          </a:p>
        </p:txBody>
      </p:sp>
      <p:pic>
        <p:nvPicPr>
          <p:cNvPr id="12" name="Picture 2" descr="Azure SQL Database with Elastic pools – Lee's Tech Blog">
            <a:extLst>
              <a:ext uri="{FF2B5EF4-FFF2-40B4-BE49-F238E27FC236}">
                <a16:creationId xmlns:a16="http://schemas.microsoft.com/office/drawing/2014/main" id="{A58F2575-6EBC-44D8-A93D-9EB9C2D73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199" y="2885924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F4AAB95-338E-4DB9-A9BB-11A55370334F}"/>
              </a:ext>
            </a:extLst>
          </p:cNvPr>
          <p:cNvSpPr txBox="1"/>
          <p:nvPr/>
        </p:nvSpPr>
        <p:spPr>
          <a:xfrm>
            <a:off x="7670788" y="3408418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pic>
        <p:nvPicPr>
          <p:cNvPr id="10242" name="Picture 2" descr="ABB - Sauber Group">
            <a:extLst>
              <a:ext uri="{FF2B5EF4-FFF2-40B4-BE49-F238E27FC236}">
                <a16:creationId xmlns:a16="http://schemas.microsoft.com/office/drawing/2014/main" id="{BCBC4E4E-9C19-4320-96FB-6E33A0186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476" y="4822344"/>
            <a:ext cx="993381" cy="54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928481" y="5407466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Third</a:t>
            </a:r>
          </a:p>
          <a:p>
            <a:pPr algn="ctr"/>
            <a:r>
              <a:rPr lang="en-US" sz="1400" dirty="0"/>
              <a:t>Part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4F80DE4-55BF-4ECE-8280-BE91FDDFA360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8070383" y="2517712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croll: Vertical 16">
            <a:extLst>
              <a:ext uri="{FF2B5EF4-FFF2-40B4-BE49-F238E27FC236}">
                <a16:creationId xmlns:a16="http://schemas.microsoft.com/office/drawing/2014/main" id="{C8E66B05-7044-4C0E-9196-8C92E22D59C8}"/>
              </a:ext>
            </a:extLst>
          </p:cNvPr>
          <p:cNvSpPr/>
          <p:nvPr/>
        </p:nvSpPr>
        <p:spPr>
          <a:xfrm>
            <a:off x="9184227" y="6313922"/>
            <a:ext cx="3610999" cy="1371332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 3 Projects @ Axpo Grid</a:t>
            </a:r>
          </a:p>
          <a:p>
            <a:pPr algn="ctr"/>
            <a:r>
              <a:rPr lang="en-US" dirty="0"/>
              <a:t> + 1 Project @ </a:t>
            </a:r>
            <a:r>
              <a:rPr lang="en-US" dirty="0" err="1"/>
              <a:t>Emost</a:t>
            </a:r>
            <a:r>
              <a:rPr lang="en-US" dirty="0"/>
              <a:t> (Axpo)</a:t>
            </a:r>
          </a:p>
          <a:p>
            <a:pPr algn="ctr"/>
            <a:r>
              <a:rPr lang="en-US" dirty="0"/>
              <a:t>+ 1 Project @ </a:t>
            </a:r>
            <a:r>
              <a:rPr lang="en-US" dirty="0" err="1"/>
              <a:t>Migro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472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0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3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4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86196-074F-4A00-B713-E18C5AC55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710" y="1991349"/>
            <a:ext cx="6157156" cy="31259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24C9A8-F8C8-41E9-8512-FFB2EE0EE055}"/>
              </a:ext>
            </a:extLst>
          </p:cNvPr>
          <p:cNvCxnSpPr>
            <a:cxnSpLocks/>
          </p:cNvCxnSpPr>
          <p:nvPr/>
        </p:nvCxnSpPr>
        <p:spPr>
          <a:xfrm flipH="1">
            <a:off x="7979833" y="4360333"/>
            <a:ext cx="3111500" cy="140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D64AA34-9EC3-4944-B4C5-A69A2239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2380" y="2836593"/>
            <a:ext cx="6715174" cy="134779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4B7D57C-9BD9-450B-9B0B-6008AE4BB82B}"/>
              </a:ext>
            </a:extLst>
          </p:cNvPr>
          <p:cNvSpPr/>
          <p:nvPr/>
        </p:nvSpPr>
        <p:spPr>
          <a:xfrm>
            <a:off x="7476067" y="3657600"/>
            <a:ext cx="698500" cy="190500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62F486-34D4-4A52-9075-741D65F0A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292" y="3998138"/>
            <a:ext cx="2781320" cy="1119196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751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tream Analytic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 dirty="0">
                <a:hlinkClick r:id="rId2"/>
              </a:rPr>
              <a:t>Azure Stream Analytics | Microsoft Azure</a:t>
            </a:r>
            <a:endParaRPr lang="en-CH" sz="1800" dirty="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8548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2231E-5AF9-4376-83D0-E7A46BB330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9F469-78BC-4AEE-A21F-9451D51DEC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4F498-0D0C-4A73-A1D1-0C9F971301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4060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4F39E2-D8D5-46FA-A135-210140843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288232-4544-4806-948D-737014D9A77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40" y="3878346"/>
            <a:ext cx="5124459" cy="2428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9EB39-AD0E-4DF2-BDD8-74392FDBA5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089" y="1750970"/>
            <a:ext cx="4117834" cy="11112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463845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9D949-CE3D-41B0-A990-9D67263EC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ale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70AB4-DAB2-4499-B87E-93356E344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C558BC-8D81-4A09-BA86-E3E6C46D3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4638"/>
            <a:ext cx="12192000" cy="555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90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5C7E9-F598-44C8-9417-C6B55511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Hub (Edge)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4B809-4863-4CE7-B99A-DA0A1E038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IoT Hub is a managed service hosted in the cloud that acts as a central message hub for communication between an IoT application and its attached devices. </a:t>
            </a:r>
            <a:b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</a:br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You can connect millions of devices and their backend solutions reliably and securely. Almost any device can be connected to an IoT Hub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everal messaging patterns are supported, including device-to-cloud telemetry, uploading files from devices, and request-reply methods to control your devices from the cloud. </a:t>
            </a:r>
            <a:b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oT Hub also supports monitoring to help you track device creation, device connections, and device failures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IoT Edge moves cloud analytics and custom business logic to devices so that your organization can focus on business insights instead of data management. </a:t>
            </a:r>
            <a:endParaRPr lang="en-CH" sz="2000" dirty="0"/>
          </a:p>
        </p:txBody>
      </p:sp>
      <p:pic>
        <p:nvPicPr>
          <p:cNvPr id="2050" name="Picture 2" descr="Azure IoT Hub Overview - CodeProject">
            <a:extLst>
              <a:ext uri="{FF2B5EF4-FFF2-40B4-BE49-F238E27FC236}">
                <a16:creationId xmlns:a16="http://schemas.microsoft.com/office/drawing/2014/main" id="{82D672F1-2A59-4CD7-B570-056D919EE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318" y="4481384"/>
            <a:ext cx="482917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0360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1B149-80E9-466E-8AD3-5DD41AB5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F8200A-8CFA-4D07-A69C-74B9958EEF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37" y="2743199"/>
            <a:ext cx="3320144" cy="29880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4C786-E734-4D8C-9BA4-7DF9081220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129" y="1690688"/>
            <a:ext cx="8379634" cy="493849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CFC9F0-A784-45A3-8B37-64981DCABB9B}"/>
              </a:ext>
            </a:extLst>
          </p:cNvPr>
          <p:cNvCxnSpPr/>
          <p:nvPr/>
        </p:nvCxnSpPr>
        <p:spPr>
          <a:xfrm>
            <a:off x="1408517" y="3140765"/>
            <a:ext cx="1845838" cy="40324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897E9C-99D6-4BFF-B92A-DF5E2E73F6AB}"/>
              </a:ext>
            </a:extLst>
          </p:cNvPr>
          <p:cNvCxnSpPr>
            <a:cxnSpLocks/>
          </p:cNvCxnSpPr>
          <p:nvPr/>
        </p:nvCxnSpPr>
        <p:spPr>
          <a:xfrm flipV="1">
            <a:off x="1408517" y="4992284"/>
            <a:ext cx="1845838" cy="73897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27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>
                <a:highlight>
                  <a:srgbClr val="FFFF00"/>
                </a:highlight>
              </a:rPr>
              <a:t>Conclusion and next Steps</a:t>
            </a:r>
          </a:p>
          <a:p>
            <a:pPr marL="457200" lvl="1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99313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98</Words>
  <Application>Microsoft Office PowerPoint</Application>
  <PresentationFormat>Widescreen</PresentationFormat>
  <Paragraphs>1228</Paragraphs>
  <Slides>7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85" baseType="lpstr">
      <vt:lpstr>-apple-system</vt:lpstr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4Solution/Smart Start2 using  - Azure IoTHub,  - Azure Stream Analytics - and Azure SQL</vt:lpstr>
      <vt:lpstr>Agenda</vt:lpstr>
      <vt:lpstr>Goal</vt:lpstr>
      <vt:lpstr>Source of the Architecture (Axpo Hydro)</vt:lpstr>
      <vt:lpstr>Main goals/requirements and features</vt:lpstr>
      <vt:lpstr>Azure Stream Analytics</vt:lpstr>
      <vt:lpstr>Azure IoT Hub (Edge)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Add Device &amp; Configure C# Application 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Efficient Queries and Power BI – Direct Query</vt:lpstr>
      <vt:lpstr>Efficient Queries and Power BI – Direct Query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  <vt:lpstr>PowerPoint Presentation</vt:lpstr>
      <vt:lpstr>PowerPoint Presentation</vt:lpstr>
      <vt:lpstr>Current Scale Level</vt:lpstr>
      <vt:lpstr>Utiliz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37</cp:revision>
  <dcterms:created xsi:type="dcterms:W3CDTF">2020-10-15T12:27:59Z</dcterms:created>
  <dcterms:modified xsi:type="dcterms:W3CDTF">2022-05-04T05:3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